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D$2:$D$260</c:f>
              <c:numCache>
                <c:formatCode>#,##0</c:formatCode>
                <c:ptCount val="259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6</c:v>
                </c:pt>
                <c:pt idx="208">
                  <c:v>861</c:v>
                </c:pt>
                <c:pt idx="209">
                  <c:v>865</c:v>
                </c:pt>
                <c:pt idx="210">
                  <c:v>838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7</c:v>
                </c:pt>
                <c:pt idx="221">
                  <c:v>604</c:v>
                </c:pt>
                <c:pt idx="222">
                  <c:v>605</c:v>
                </c:pt>
                <c:pt idx="223">
                  <c:v>596</c:v>
                </c:pt>
                <c:pt idx="224">
                  <c:v>573</c:v>
                </c:pt>
                <c:pt idx="225">
                  <c:v>540</c:v>
                </c:pt>
                <c:pt idx="226">
                  <c:v>522</c:v>
                </c:pt>
                <c:pt idx="227">
                  <c:v>517</c:v>
                </c:pt>
                <c:pt idx="228">
                  <c:v>489</c:v>
                </c:pt>
                <c:pt idx="229">
                  <c:v>494</c:v>
                </c:pt>
                <c:pt idx="230">
                  <c:v>491</c:v>
                </c:pt>
                <c:pt idx="231">
                  <c:v>474</c:v>
                </c:pt>
                <c:pt idx="232">
                  <c:v>462</c:v>
                </c:pt>
                <c:pt idx="233">
                  <c:v>416</c:v>
                </c:pt>
                <c:pt idx="234">
                  <c:v>400</c:v>
                </c:pt>
                <c:pt idx="235">
                  <c:v>376</c:v>
                </c:pt>
                <c:pt idx="236">
                  <c:v>370</c:v>
                </c:pt>
                <c:pt idx="237">
                  <c:v>360</c:v>
                </c:pt>
                <c:pt idx="238">
                  <c:v>358</c:v>
                </c:pt>
                <c:pt idx="239">
                  <c:v>332</c:v>
                </c:pt>
                <c:pt idx="240">
                  <c:v>302</c:v>
                </c:pt>
                <c:pt idx="241">
                  <c:v>277</c:v>
                </c:pt>
                <c:pt idx="242">
                  <c:v>262</c:v>
                </c:pt>
                <c:pt idx="243">
                  <c:v>268</c:v>
                </c:pt>
                <c:pt idx="244">
                  <c:v>266</c:v>
                </c:pt>
                <c:pt idx="245">
                  <c:v>254</c:v>
                </c:pt>
                <c:pt idx="246">
                  <c:v>236</c:v>
                </c:pt>
                <c:pt idx="247">
                  <c:v>220</c:v>
                </c:pt>
                <c:pt idx="248">
                  <c:v>204</c:v>
                </c:pt>
                <c:pt idx="249">
                  <c:v>187</c:v>
                </c:pt>
                <c:pt idx="250">
                  <c:v>186</c:v>
                </c:pt>
                <c:pt idx="251">
                  <c:v>188</c:v>
                </c:pt>
                <c:pt idx="252">
                  <c:v>167</c:v>
                </c:pt>
                <c:pt idx="253">
                  <c:v>154</c:v>
                </c:pt>
                <c:pt idx="254">
                  <c:v>150</c:v>
                </c:pt>
                <c:pt idx="255">
                  <c:v>136</c:v>
                </c:pt>
                <c:pt idx="256">
                  <c:v>121</c:v>
                </c:pt>
                <c:pt idx="257">
                  <c:v>122</c:v>
                </c:pt>
                <c:pt idx="258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3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8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B$2:$B$260</c:f>
              <c:numCache>
                <c:formatCode>#,##0</c:formatCode>
                <c:ptCount val="259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C$2:$C$260</c:f>
              <c:numCache>
                <c:formatCode>#,##0</c:formatCode>
                <c:ptCount val="25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D$2:$D$260</c:f>
              <c:numCache>
                <c:formatCode>#,##0</c:formatCode>
                <c:ptCount val="259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5</c:v>
                </c:pt>
                <c:pt idx="78">
                  <c:v>2442</c:v>
                </c:pt>
                <c:pt idx="79">
                  <c:v>2363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7</c:v>
                </c:pt>
                <c:pt idx="84">
                  <c:v>2096</c:v>
                </c:pt>
                <c:pt idx="85">
                  <c:v>2022</c:v>
                </c:pt>
                <c:pt idx="86">
                  <c:v>1932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2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10</c:v>
                </c:pt>
                <c:pt idx="160">
                  <c:v>2473</c:v>
                </c:pt>
                <c:pt idx="161">
                  <c:v>2489</c:v>
                </c:pt>
                <c:pt idx="162">
                  <c:v>2420</c:v>
                </c:pt>
                <c:pt idx="163">
                  <c:v>2453</c:v>
                </c:pt>
                <c:pt idx="164">
                  <c:v>2405</c:v>
                </c:pt>
                <c:pt idx="165">
                  <c:v>2472</c:v>
                </c:pt>
                <c:pt idx="166">
                  <c:v>2590</c:v>
                </c:pt>
                <c:pt idx="167">
                  <c:v>2623</c:v>
                </c:pt>
                <c:pt idx="168">
                  <c:v>2653</c:v>
                </c:pt>
                <c:pt idx="169">
                  <c:v>2717</c:v>
                </c:pt>
                <c:pt idx="170">
                  <c:v>2757</c:v>
                </c:pt>
                <c:pt idx="171">
                  <c:v>2678</c:v>
                </c:pt>
                <c:pt idx="172">
                  <c:v>2687</c:v>
                </c:pt>
                <c:pt idx="173">
                  <c:v>2808</c:v>
                </c:pt>
                <c:pt idx="174">
                  <c:v>3001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4</c:v>
                </c:pt>
                <c:pt idx="182">
                  <c:v>3618</c:v>
                </c:pt>
                <c:pt idx="183">
                  <c:v>3594</c:v>
                </c:pt>
                <c:pt idx="184">
                  <c:v>3677</c:v>
                </c:pt>
                <c:pt idx="185">
                  <c:v>3706</c:v>
                </c:pt>
                <c:pt idx="186">
                  <c:v>3785</c:v>
                </c:pt>
                <c:pt idx="187">
                  <c:v>3874</c:v>
                </c:pt>
                <c:pt idx="188">
                  <c:v>3925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9</c:v>
                </c:pt>
                <c:pt idx="193">
                  <c:v>3972</c:v>
                </c:pt>
                <c:pt idx="194">
                  <c:v>4040</c:v>
                </c:pt>
                <c:pt idx="195">
                  <c:v>4183</c:v>
                </c:pt>
                <c:pt idx="196">
                  <c:v>4101</c:v>
                </c:pt>
                <c:pt idx="197">
                  <c:v>4022</c:v>
                </c:pt>
                <c:pt idx="198">
                  <c:v>3994</c:v>
                </c:pt>
                <c:pt idx="199">
                  <c:v>3792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1</c:v>
                </c:pt>
                <c:pt idx="204">
                  <c:v>3538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1</c:v>
                </c:pt>
                <c:pt idx="211">
                  <c:v>3146</c:v>
                </c:pt>
                <c:pt idx="212">
                  <c:v>2998</c:v>
                </c:pt>
                <c:pt idx="213">
                  <c:v>2812</c:v>
                </c:pt>
                <c:pt idx="214">
                  <c:v>2769</c:v>
                </c:pt>
                <c:pt idx="215">
                  <c:v>2830</c:v>
                </c:pt>
                <c:pt idx="216">
                  <c:v>2843</c:v>
                </c:pt>
                <c:pt idx="217">
                  <c:v>3041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4</c:v>
                </c:pt>
                <c:pt idx="225">
                  <c:v>2104</c:v>
                </c:pt>
                <c:pt idx="226">
                  <c:v>1927</c:v>
                </c:pt>
                <c:pt idx="227">
                  <c:v>1780</c:v>
                </c:pt>
                <c:pt idx="228">
                  <c:v>1746</c:v>
                </c:pt>
                <c:pt idx="229">
                  <c:v>1753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50</c:v>
                </c:pt>
                <c:pt idx="237">
                  <c:v>1298</c:v>
                </c:pt>
                <c:pt idx="238">
                  <c:v>1276</c:v>
                </c:pt>
                <c:pt idx="239">
                  <c:v>1235</c:v>
                </c:pt>
                <c:pt idx="240">
                  <c:v>1181</c:v>
                </c:pt>
                <c:pt idx="241">
                  <c:v>1133</c:v>
                </c:pt>
                <c:pt idx="242">
                  <c:v>1139</c:v>
                </c:pt>
                <c:pt idx="243">
                  <c:v>1132</c:v>
                </c:pt>
                <c:pt idx="244">
                  <c:v>1128</c:v>
                </c:pt>
                <c:pt idx="245">
                  <c:v>1057</c:v>
                </c:pt>
                <c:pt idx="246">
                  <c:v>993</c:v>
                </c:pt>
                <c:pt idx="247">
                  <c:v>920</c:v>
                </c:pt>
                <c:pt idx="248">
                  <c:v>854</c:v>
                </c:pt>
                <c:pt idx="249">
                  <c:v>811</c:v>
                </c:pt>
                <c:pt idx="250">
                  <c:v>814</c:v>
                </c:pt>
                <c:pt idx="251">
                  <c:v>775</c:v>
                </c:pt>
                <c:pt idx="252">
                  <c:v>727</c:v>
                </c:pt>
                <c:pt idx="253">
                  <c:v>658</c:v>
                </c:pt>
                <c:pt idx="254">
                  <c:v>641</c:v>
                </c:pt>
                <c:pt idx="255">
                  <c:v>618</c:v>
                </c:pt>
                <c:pt idx="256">
                  <c:v>555</c:v>
                </c:pt>
                <c:pt idx="257">
                  <c:v>554</c:v>
                </c:pt>
                <c:pt idx="258">
                  <c:v>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4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  <a:r>
                      <a:rPr lang="en-US" baseline="0" dirty="0"/>
                      <a:t> 40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B$2:$B$260</c:f>
              <c:numCache>
                <c:formatCode>#,##0</c:formatCode>
                <c:ptCount val="259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C$2:$C$260</c:f>
              <c:numCache>
                <c:formatCode>#,##0</c:formatCode>
                <c:ptCount val="25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D$2:$D$260</c:f>
              <c:numCache>
                <c:formatCode>#,##0</c:formatCode>
                <c:ptCount val="25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5</c:v>
                </c:pt>
                <c:pt idx="249">
                  <c:v>13</c:v>
                </c:pt>
                <c:pt idx="250">
                  <c:v>12</c:v>
                </c:pt>
                <c:pt idx="251">
                  <c:v>12</c:v>
                </c:pt>
                <c:pt idx="252">
                  <c:v>12</c:v>
                </c:pt>
                <c:pt idx="253">
                  <c:v>11</c:v>
                </c:pt>
                <c:pt idx="254">
                  <c:v>11</c:v>
                </c:pt>
                <c:pt idx="255">
                  <c:v>10</c:v>
                </c:pt>
                <c:pt idx="256">
                  <c:v>10</c:v>
                </c:pt>
                <c:pt idx="257">
                  <c:v>9</c:v>
                </c:pt>
                <c:pt idx="258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4"/>
              <c:layout>
                <c:manualLayout>
                  <c:x val="3.4837775464022197E-2"/>
                  <c:y val="-2.694342728881236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B$2:$B$260</c:f>
              <c:numCache>
                <c:formatCode>#,##0</c:formatCode>
                <c:ptCount val="259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C$2:$C$260</c:f>
              <c:numCache>
                <c:formatCode>#,##0</c:formatCode>
                <c:ptCount val="25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D$2:$D$260</c:f>
              <c:numCache>
                <c:formatCode>#,##0</c:formatCode>
                <c:ptCount val="259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2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8</c:v>
                </c:pt>
                <c:pt idx="193">
                  <c:v>1778</c:v>
                </c:pt>
                <c:pt idx="194">
                  <c:v>1825</c:v>
                </c:pt>
                <c:pt idx="195">
                  <c:v>1882</c:v>
                </c:pt>
                <c:pt idx="196">
                  <c:v>1891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1</c:v>
                </c:pt>
                <c:pt idx="208">
                  <c:v>1651</c:v>
                </c:pt>
                <c:pt idx="209">
                  <c:v>1661</c:v>
                </c:pt>
                <c:pt idx="210">
                  <c:v>1612</c:v>
                </c:pt>
                <c:pt idx="211">
                  <c:v>1552</c:v>
                </c:pt>
                <c:pt idx="212">
                  <c:v>1504</c:v>
                </c:pt>
                <c:pt idx="213">
                  <c:v>1423</c:v>
                </c:pt>
                <c:pt idx="214">
                  <c:v>1400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5</c:v>
                </c:pt>
                <c:pt idx="220">
                  <c:v>1237</c:v>
                </c:pt>
                <c:pt idx="221">
                  <c:v>1218</c:v>
                </c:pt>
                <c:pt idx="222">
                  <c:v>1200</c:v>
                </c:pt>
                <c:pt idx="223">
                  <c:v>1186</c:v>
                </c:pt>
                <c:pt idx="224">
                  <c:v>1158</c:v>
                </c:pt>
                <c:pt idx="225">
                  <c:v>1114</c:v>
                </c:pt>
                <c:pt idx="226">
                  <c:v>1036</c:v>
                </c:pt>
                <c:pt idx="227">
                  <c:v>1014</c:v>
                </c:pt>
                <c:pt idx="228">
                  <c:v>974</c:v>
                </c:pt>
                <c:pt idx="229">
                  <c:v>976</c:v>
                </c:pt>
                <c:pt idx="230">
                  <c:v>994</c:v>
                </c:pt>
                <c:pt idx="231">
                  <c:v>942</c:v>
                </c:pt>
                <c:pt idx="232">
                  <c:v>907</c:v>
                </c:pt>
                <c:pt idx="233">
                  <c:v>833</c:v>
                </c:pt>
                <c:pt idx="234">
                  <c:v>787</c:v>
                </c:pt>
                <c:pt idx="235">
                  <c:v>751</c:v>
                </c:pt>
                <c:pt idx="236">
                  <c:v>761</c:v>
                </c:pt>
                <c:pt idx="237">
                  <c:v>739</c:v>
                </c:pt>
                <c:pt idx="238">
                  <c:v>714</c:v>
                </c:pt>
                <c:pt idx="239">
                  <c:v>686</c:v>
                </c:pt>
                <c:pt idx="240">
                  <c:v>637</c:v>
                </c:pt>
                <c:pt idx="241">
                  <c:v>578</c:v>
                </c:pt>
                <c:pt idx="242">
                  <c:v>556</c:v>
                </c:pt>
                <c:pt idx="243">
                  <c:v>563</c:v>
                </c:pt>
                <c:pt idx="244">
                  <c:v>570</c:v>
                </c:pt>
                <c:pt idx="245">
                  <c:v>550</c:v>
                </c:pt>
                <c:pt idx="246">
                  <c:v>507</c:v>
                </c:pt>
                <c:pt idx="247">
                  <c:v>467</c:v>
                </c:pt>
                <c:pt idx="248">
                  <c:v>444</c:v>
                </c:pt>
                <c:pt idx="249">
                  <c:v>415</c:v>
                </c:pt>
                <c:pt idx="250">
                  <c:v>422</c:v>
                </c:pt>
                <c:pt idx="251">
                  <c:v>427</c:v>
                </c:pt>
                <c:pt idx="252">
                  <c:v>406</c:v>
                </c:pt>
                <c:pt idx="253">
                  <c:v>380</c:v>
                </c:pt>
                <c:pt idx="254">
                  <c:v>366</c:v>
                </c:pt>
                <c:pt idx="255">
                  <c:v>337</c:v>
                </c:pt>
                <c:pt idx="256">
                  <c:v>306</c:v>
                </c:pt>
                <c:pt idx="257">
                  <c:v>302</c:v>
                </c:pt>
                <c:pt idx="258">
                  <c:v>2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8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0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44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62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B$2:$B$260</c:f>
              <c:numCache>
                <c:formatCode>#,##0</c:formatCode>
                <c:ptCount val="259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0</c:f>
              <c:numCache>
                <c:formatCode>m/d/yyyy</c:formatCode>
                <c:ptCount val="25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</c:numCache>
            </c:numRef>
          </c:cat>
          <c:val>
            <c:numRef>
              <c:f>Sheet1!$C$2:$C$260</c:f>
              <c:numCache>
                <c:formatCode>#,##0</c:formatCode>
                <c:ptCount val="25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18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18790489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39219425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1403754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18542615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459428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997853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04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675</cp:revision>
  <dcterms:created xsi:type="dcterms:W3CDTF">2020-08-08T14:25:07Z</dcterms:created>
  <dcterms:modified xsi:type="dcterms:W3CDTF">2021-05-18T03:44:55Z</dcterms:modified>
</cp:coreProperties>
</file>